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60" d="100"/>
          <a:sy n="60" d="100"/>
        </p:scale>
        <p:origin x="624" y="9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25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KEA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000" y="2361182"/>
            <a:ext cx="6346976" cy="4331577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600" dirty="0">
                <a:solidFill>
                  <a:schemeClr val="accent4"/>
                </a:solidFill>
              </a:rPr>
              <a:t>Background</a:t>
            </a:r>
            <a:br>
              <a:rPr lang="en-US" sz="1100" dirty="0">
                <a:solidFill>
                  <a:srgbClr val="FF0000"/>
                </a:solidFill>
              </a:rPr>
            </a:b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Covid-19 presented multiple issues for IKEA to deal with - </a:t>
            </a:r>
            <a:r>
              <a:rPr lang="en-GB" sz="1100" b="0">
                <a:solidFill>
                  <a:schemeClr val="bg1"/>
                </a:solidFill>
              </a:rPr>
              <a:t>store closures, </a:t>
            </a:r>
            <a:r>
              <a:rPr lang="en-GB" sz="1100" b="0" dirty="0">
                <a:solidFill>
                  <a:schemeClr val="bg1"/>
                </a:solidFill>
              </a:rPr>
              <a:t>supply chain issues, an increased consideration of home improvements and furnishing but a move to shopping locally (or online). The category was booming, and competitors were closing in.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KEA needed to bounce back quickly and get people back to its stores once they reopened – and to do this successfully IKEA needed to feel like part of the community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Prospect coined a new media strategy designed to bring IKEA ‘Closer to Home’ – mapping drive times around each store and prioritising ad spend in these regions so the brand was reaching those who are most relevant and likely conversions.  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600" dirty="0">
                <a:solidFill>
                  <a:schemeClr val="accent4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Prospect applied this strategy by selecting media that allowed more precision targeting: VOD, OOH and cinema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IKEA bought an AGP running 60” copy across a range of blockbusters and major releases in the key areas to maximise reach and emotional connection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chemeClr val="bg1"/>
                </a:solidFill>
              </a:rPr>
              <a:t>To hit the object of increased footfall, bespoke regional end frames were also used, which were adapted to each cinemas’ nearest IKEA store – totalling 20 different executions across the UK.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b="0" dirty="0">
              <a:solidFill>
                <a:schemeClr val="bg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19050" y="7195303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KEA 2023 DCM Awards Entr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43575F-AD54-BE20-6DA9-02238737B07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81226" y="638251"/>
            <a:ext cx="5241514" cy="2948352"/>
          </a:xfrm>
          <a:prstGeom prst="rect">
            <a:avLst/>
          </a:prstGeom>
        </p:spPr>
      </p:pic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3B805F-0D89-ACCB-3889-F36BE4C48C8D}"/>
              </a:ext>
            </a:extLst>
          </p:cNvPr>
          <p:cNvSpPr txBox="1">
            <a:spLocks/>
          </p:cNvSpPr>
          <p:nvPr/>
        </p:nvSpPr>
        <p:spPr>
          <a:xfrm>
            <a:off x="197014" y="621521"/>
            <a:ext cx="12423740" cy="436608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8A8A8D"/>
                </a:solidFill>
                <a:latin typeface="Arial"/>
              </a:rPr>
              <a:t>Closer To Home</a:t>
            </a:r>
            <a:endParaRPr lang="en-US" dirty="0"/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97ACE42-1BE1-4BF4-A3FC-1107C2022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5591541"/>
              </p:ext>
            </p:extLst>
          </p:nvPr>
        </p:nvGraphicFramePr>
        <p:xfrm>
          <a:off x="244588" y="938138"/>
          <a:ext cx="6546736" cy="1091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9347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70234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4846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31165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rospe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5C40607-4731-4842-96D9-4C28DF7F873C}"/>
              </a:ext>
            </a:extLst>
          </p:cNvPr>
          <p:cNvSpPr txBox="1">
            <a:spLocks/>
          </p:cNvSpPr>
          <p:nvPr/>
        </p:nvSpPr>
        <p:spPr bwMode="gray">
          <a:xfrm>
            <a:off x="7333672" y="4206925"/>
            <a:ext cx="5536622" cy="18312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800"/>
              </a:spcAft>
              <a:defRPr/>
            </a:pPr>
            <a:r>
              <a:rPr lang="en-GB" sz="1100" b="0" dirty="0"/>
              <a:t>The ‘Closer to Home’ strategy worked very well for IKEA driving market share by +1.4pp YOY to its highest ever level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rgbClr val="000000"/>
              </a:buClr>
              <a:buFontTx/>
              <a:buChar char="-"/>
              <a:defRPr/>
            </a:pPr>
            <a:r>
              <a:rPr lang="en-GB" sz="1100" b="0" dirty="0"/>
              <a:t>Importantly, footfall increased +31% YOY, with media driving an additional 2m visits and £45m in in-store revenue.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rgbClr val="000000"/>
              </a:buClr>
              <a:buFontTx/>
              <a:buChar char="-"/>
              <a:defRPr/>
            </a:pPr>
            <a:r>
              <a:rPr lang="en-GB" sz="1100" b="0" dirty="0"/>
              <a:t>Despite fluctuating budgets, this strategy has also delivered IKEA more for less, with Media ROI improving 24% YOY across 2022. </a:t>
            </a:r>
          </a:p>
          <a:p>
            <a:pPr marL="171450" indent="-171450">
              <a:lnSpc>
                <a:spcPct val="100000"/>
              </a:lnSpc>
              <a:buClr>
                <a:srgbClr val="000000"/>
              </a:buClr>
              <a:buFontTx/>
              <a:buChar char="-"/>
              <a:defRPr/>
            </a:pPr>
            <a:r>
              <a:rPr lang="en-GB" sz="1100" b="0" dirty="0">
                <a:solidFill>
                  <a:srgbClr val="000000"/>
                </a:solidFill>
              </a:rPr>
              <a:t>IKEA climbed 3 places to rank #3 in YouGov’s Best Brand Rankings UK 2022 – its best ranking globally, sharing the same spot with its Swedish motherland, highlighting how IKEA has very much made the UK its second home!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51063793-D06C-44D5-9698-4875FA533070}"/>
              </a:ext>
            </a:extLst>
          </p:cNvPr>
          <p:cNvSpPr txBox="1">
            <a:spLocks/>
          </p:cNvSpPr>
          <p:nvPr/>
        </p:nvSpPr>
        <p:spPr bwMode="gray">
          <a:xfrm>
            <a:off x="7333672" y="3777048"/>
            <a:ext cx="1060017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defTabSz="721479">
              <a:spcBef>
                <a:spcPct val="0"/>
              </a:spcBef>
              <a:buNone/>
              <a:defRPr sz="1400" b="1" cap="none" spc="0" baseline="0">
                <a:ln w="22225">
                  <a:noFill/>
                  <a:prstDash val="solid"/>
                </a:ln>
                <a:solidFill>
                  <a:schemeClr val="accent2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214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chemeClr val="accent4"/>
                </a:solidFill>
                <a:effectLst/>
                <a:uLnTx/>
                <a:uFillTx/>
                <a:latin typeface="Arial" charset="0"/>
                <a:cs typeface="Arial" charset="0"/>
              </a:rPr>
              <a:t>Result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FF47427-1385-4D0D-9A1D-82648AE0D2D2}"/>
              </a:ext>
            </a:extLst>
          </p:cNvPr>
          <p:cNvSpPr txBox="1"/>
          <p:nvPr/>
        </p:nvSpPr>
        <p:spPr>
          <a:xfrm rot="2162226">
            <a:off x="10784298" y="464495"/>
            <a:ext cx="3511913" cy="415498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>
                <a:solidFill>
                  <a:srgbClr val="FFFFFF"/>
                </a:solidFill>
              </a:rPr>
              <a:t>DCM Awards Winner -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</a:rPr>
              <a:t>Best Long-Term Use of Cinema</a:t>
            </a:r>
          </a:p>
        </p:txBody>
      </p:sp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6</Words>
  <Application>Microsoft Office PowerPoint</Application>
  <PresentationFormat>Custom</PresentationFormat>
  <Paragraphs>35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entury Gothic</vt:lpstr>
      <vt:lpstr>Impact</vt:lpstr>
      <vt:lpstr>Lucida Grande</vt:lpstr>
      <vt:lpstr>Wingdings</vt:lpstr>
      <vt:lpstr>1_Blank with title</vt:lpstr>
      <vt:lpstr>think-cell Slide</vt:lpstr>
      <vt:lpstr>IKEA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3-10-25T13:56:4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